
<file path=[Content_Types].xml><?xml version="1.0" encoding="utf-8"?>
<Types xmlns="http://schemas.openxmlformats.org/package/2006/content-types">
  <Default Extension="xml" ContentType="application/vnd.openxmlformats-package.core-properties+xml"/>
  <Default Extension="jpeg" ContentType="image/jpeg"/>
  <Default Extension="vml" ContentType="application/vnd.openxmlformats-officedocument.vmlDrawing"/>
  <Default Extension="emf" ContentType="image/x-emf"/>
  <Default Extension="bin" ContentType="application/vnd.openxmlformats-officedocument.oleObject"/>
  <Default Extension="rels" ContentType="application/vnd.openxmlformats-package.relationships+xml"/>
  <Override PartName="/ppt/presentation.xml" ContentType="application/vnd.openxmlformats-officedocument.presentationml.presentation.main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revisionInfo.xml" ContentType="application/vnd.ms-powerpoint.revisioninfo+xml"/>
  <Override PartName="/ppt/authors.xml" ContentType="application/vnd.ms-powerpoint.authors+xml"/>
  <Override PartName="/customXml/item1.xml" ContentType="application/xml"/>
  <Override PartName="/customXml/itemProps1.xml" ContentType="application/vnd.openxmlformats-officedocument.customXmlProperties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customXml/item2.xml" ContentType="application/xml"/>
  <Override PartName="/customXml/itemProps2.xml" ContentType="application/vnd.openxmlformats-officedocument.customXmlProperties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slideMasters/slideMaster1.xml" ContentType="application/vnd.openxmlformats-officedocument.presentationml.slideMaster+xml"/>
  <Override PartName="/ppt/slideLayouts/slideLayout5.xml" ContentType="application/vnd.openxmlformats-officedocument.presentationml.slideLayout+xml"/>
  <Override PartName="/ppt/tags/tag4.xml" ContentType="application/vnd.openxmlformats-officedocument.presentationml.tags+xml"/>
  <Override PartName="/ppt/tags/tag2.xml" ContentType="application/vnd.openxmlformats-officedocument.presentationml.tags+xml"/>
  <Override PartName="/ppt/tags/tag1.xml" ContentType="application/vnd.openxmlformats-officedocument.presentationml.tags+xml"/>
  <Override PartName="/ppt/slides/slide7.xml" ContentType="application/vnd.openxmlformats-officedocument.presentationml.slide+xml"/>
  <Override PartName="/ppt/tags/tag48.xml" ContentType="application/vnd.openxmlformats-officedocument.presentationml.tags+xml"/>
  <Override PartName="/ppt/notesSlides/notesSlide7.xml" ContentType="application/vnd.openxmlformats-officedocument.presentationml.notesSlide+xml"/>
  <Override PartName="/ppt/presProps.xml" ContentType="application/vnd.openxmlformats-officedocument.presentationml.presProps+xml"/>
  <Override PartName="/docProps/custom.xml" ContentType="application/vnd.openxmlformats-officedocument.custom-properties+xml"/>
  <Override PartName="/docProps/app.xml" ContentType="application/vnd.openxmlformats-officedocument.extended-properties+xml"/>
</Types>
</file>

<file path=_rels/.rels>&#65279;<?xml version="1.0" encoding="utf-8"?><Relationships xmlns="http://schemas.openxmlformats.org/package/2006/relationships"><Relationship Type="http://schemas.openxmlformats.org/package/2006/relationships/metadata/core-properties" Target="/docProps/core.xml" Id="rId3" /><Relationship Type="http://schemas.openxmlformats.org/package/2006/relationships/metadata/thumbnail" Target="/docProps/thumbnail.jpeg" Id="rId2" /><Relationship Type="http://schemas.openxmlformats.org/officeDocument/2006/relationships/officeDocument" Target="/ppt/presentation.xml" Id="rId1" /><Relationship Type="http://schemas.openxmlformats.org/officeDocument/2006/relationships/custom-properties" Target="/docProps/custom.xml" Id="rId5" /><Relationship Type="http://schemas.openxmlformats.org/officeDocument/2006/relationships/extended-properties" Target="/docProps/app.xml" Id="rId4" /></Relationships>
</file>

<file path=ppt/presentation.xml><?xml version="1.0" encoding="utf-8"?>
<p:presentation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2" r:id="rId3"/>
  </p:sldMasterIdLst>
  <p:notesMasterIdLst>
    <p:notesMasterId r:id="rId254"/>
  </p:notesMasterIdLst>
  <p:handoutMasterIdLst>
    <p:handoutMasterId r:id="rId255"/>
  </p:handoutMasterIdLst>
  <p:sldIdLst>
    <p:sldId id="265" r:id="rId10"/>
  </p:sldIdLst>
  <p:sldSz cx="12192000" cy="6858000"/>
  <p:notesSz cx="6858000" cy="9144000"/>
  <p:custDataLst>
    <p:tags r:id="rId25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536"/>
    <a:srgbClr val="C0C0C0"/>
    <a:srgbClr val="FFFFFF"/>
    <a:srgbClr val="EAEAEA"/>
    <a:srgbClr val="777777"/>
    <a:srgbClr val="000000"/>
    <a:srgbClr val="A5A5A5"/>
    <a:srgbClr val="44444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9D4EB-3D9D-4565-8C35-32D62D845C2C}" v="40032" dt="2024-10-23T10:06:55.3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16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&#65279;<?xml version="1.0" encoding="utf-8"?><Relationships xmlns="http://schemas.openxmlformats.org/package/2006/relationships"><Relationship Type="http://schemas.openxmlformats.org/officeDocument/2006/relationships/viewProps" Target="/ppt/viewProps.xml" Id="rId258" /><Relationship Type="http://schemas.openxmlformats.org/officeDocument/2006/relationships/theme" Target="/ppt/theme/theme1.xml" Id="rId259" /><Relationship Type="http://schemas.openxmlformats.org/officeDocument/2006/relationships/tableStyles" Target="/ppt/tableStyles.xml" Id="rId260" /><Relationship Type="http://schemas.microsoft.com/office/2015/10/relationships/revisionInfo" Target="/ppt/revisionInfo.xml" Id="rId261" /><Relationship Type="http://schemas.microsoft.com/office/2018/10/relationships/authors" Target="/ppt/authors.xml" Id="rId262" /><Relationship Type="http://schemas.openxmlformats.org/officeDocument/2006/relationships/customXml" Target="/customXml/item1.xml" Id="rId1" /><Relationship Type="http://schemas.openxmlformats.org/officeDocument/2006/relationships/notesMaster" Target="/ppt/notesMasters/notesMaster1.xml" Id="rId254" /><Relationship Type="http://schemas.openxmlformats.org/officeDocument/2006/relationships/customXml" Target="/customXml/item2.xml" Id="rId2" /><Relationship Type="http://schemas.openxmlformats.org/officeDocument/2006/relationships/handoutMaster" Target="/ppt/handoutMasters/handoutMaster1.xml" Id="rId255" /><Relationship Type="http://schemas.openxmlformats.org/officeDocument/2006/relationships/slideMaster" Target="/ppt/slideMasters/slideMaster1.xml" Id="rId3" /><Relationship Type="http://schemas.openxmlformats.org/officeDocument/2006/relationships/tags" Target="/ppt/tags/tag1.xml" Id="rId256" /><Relationship Type="http://schemas.openxmlformats.org/officeDocument/2006/relationships/slide" Target="/ppt/slides/slide7.xml" Id="rId10" /><Relationship Type="http://schemas.openxmlformats.org/officeDocument/2006/relationships/presProps" Target="/ppt/presProps.xml" Id="rId257" /></Relationships>
</file>

<file path=ppt/drawings/_rels/vmlDrawing1.vml.rels>&#65279;<?xml version="1.0" encoding="utf-8"?><Relationships xmlns="http://schemas.openxmlformats.org/package/2006/relationships"><Relationship Type="http://schemas.openxmlformats.org/officeDocument/2006/relationships/image" Target="/ppt/media/image1.emf" Id="rId1" /></Relationships>
</file>

<file path=ppt/drawings/_rels/vmlDrawing11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drawings/_rels/vmlDrawing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handoutMasters/_rels/handoutMaster1.xml.rels>&#65279;<?xml version="1.0" encoding="utf-8"?><Relationships xmlns="http://schemas.openxmlformats.org/package/2006/relationships"><Relationship Type="http://schemas.openxmlformats.org/officeDocument/2006/relationships/theme" Target="/ppt/theme/theme3.xml" Id="rId1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2017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&#65279;<?xml version="1.0" encoding="utf-8"?><Relationships xmlns="http://schemas.openxmlformats.org/package/2006/relationships"><Relationship Type="http://schemas.openxmlformats.org/officeDocument/2006/relationships/theme" Target="/ppt/theme/theme2.xml" Id="rId1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7.xml.rels>&#65279;<?xml version="1.0" encoding="utf-8"?><Relationships xmlns="http://schemas.openxmlformats.org/package/2006/relationships"><Relationship Type="http://schemas.openxmlformats.org/officeDocument/2006/relationships/slide" Target="/ppt/slides/slide7.xml" Id="rId2" /><Relationship Type="http://schemas.openxmlformats.org/officeDocument/2006/relationships/notesMaster" Target="/ppt/notesMasters/notesMaster1.xml" Id="rId1" /></Relationship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17684184"/>
      </p:ext>
    </p:extLst>
  </p:cSld>
  <p:clrMapOvr>
    <a:masterClrMapping/>
  </p:clrMapOvr>
</p:notes>
</file>

<file path=ppt/slideLayouts/_rels/slideLayout5.xml.rels>&#65279;<?xml version="1.0" encoding="utf-8"?><Relationships xmlns="http://schemas.openxmlformats.org/package/2006/relationships"><Relationship Type="http://schemas.openxmlformats.org/officeDocument/2006/relationships/slideMaster" Target="/ppt/slideMasters/slideMaster1.xml" Id="rId3" /><Relationship Type="http://schemas.openxmlformats.org/officeDocument/2006/relationships/tags" Target="/ppt/tags/tag4.xml" Id="rId2" /><Relationship Type="http://schemas.openxmlformats.org/officeDocument/2006/relationships/vmlDrawing" Target="/ppt/drawings/vmlDrawing3.vml" Id="rId1" /><Relationship Type="http://schemas.openxmlformats.org/officeDocument/2006/relationships/image" Target="/ppt/media/image4.emf" Id="rId5" /><Relationship Type="http://schemas.openxmlformats.org/officeDocument/2006/relationships/oleObject" Target="/ppt/embeddings/oleObject3.bin" Id="rId4" /></Relationships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27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6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&#65279;<?xml version="1.0" encoding="utf-8"?><Relationships xmlns="http://schemas.openxmlformats.org/package/2006/relationships"><Relationship Type="http://schemas.openxmlformats.org/officeDocument/2006/relationships/vmlDrawing" Target="/ppt/drawings/vmlDrawing1.vml" Id="rId8" /><Relationship Type="http://schemas.openxmlformats.org/officeDocument/2006/relationships/theme" Target="/ppt/theme/theme1.xml" Id="rId7" /><Relationship Type="http://schemas.openxmlformats.org/officeDocument/2006/relationships/image" Target="/ppt/media/image1.emf" Id="rId11" /><Relationship Type="http://schemas.openxmlformats.org/officeDocument/2006/relationships/slideLayout" Target="/ppt/slideLayouts/slideLayout5.xml" Id="rId5" /><Relationship Type="http://schemas.openxmlformats.org/officeDocument/2006/relationships/oleObject" Target="/ppt/embeddings/oleObject1.bin" Id="rId10" /><Relationship Type="http://schemas.openxmlformats.org/officeDocument/2006/relationships/tags" Target="/ppt/tags/tag2.xml" Id="rId9" /></Relationships>
</file>

<file path=ppt/slideMasters/slideMaster1.xml><?xml version="1.0" encoding="utf-8"?>
<p:sldMaster xmlns:mc="http://schemas.openxmlformats.org/markup-compatibility/2006" xmlns:v="urn:schemas-microsoft-com:vml" xmlns:a16="http://schemas.microsoft.com/office/drawing/2014/main" xmlns:p14="http://schemas.microsoft.com/office/powerpoint/2010/main"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79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887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7.xml.rels>&#65279;<?xml version="1.0" encoding="utf-8"?><Relationships xmlns="http://schemas.openxmlformats.org/package/2006/relationships"><Relationship Type="http://schemas.openxmlformats.org/officeDocument/2006/relationships/slideLayout" Target="/ppt/slideLayouts/slideLayout5.xml" Id="rId3" /><Relationship Type="http://schemas.openxmlformats.org/officeDocument/2006/relationships/tags" Target="/ppt/tags/tag48.xml" Id="rId2" /><Relationship Type="http://schemas.openxmlformats.org/officeDocument/2006/relationships/vmlDrawing" Target="/ppt/drawings/vmlDrawing11.vml" Id="rId1" /><Relationship Type="http://schemas.openxmlformats.org/officeDocument/2006/relationships/image" Target="/ppt/media/image4.emf" Id="rId6" /><Relationship Type="http://schemas.openxmlformats.org/officeDocument/2006/relationships/oleObject" Target="/ppt/embeddings/oleObject11.bin" Id="rId5" /><Relationship Type="http://schemas.openxmlformats.org/officeDocument/2006/relationships/notesSlide" Target="/ppt/notesSlides/notesSlide7.xml" Id="rId4" /></Relationships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659694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4" name="think-cell 幻灯片" r:id="rId5" imgW="349" imgH="350" progId="TCLayout.ActiveDocument.1">
                  <p:embed/>
                </p:oleObj>
              </mc:Choice>
              <mc:Fallback>
                <p:oleObj name="think-cell 幻灯片" r:id="rId5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/>
              <a:t>Schedule I</a:t>
            </a:r>
          </a:p>
        </p:txBody>
      </p:sp>
      <p:sp>
        <p:nvSpPr>
          <p:cNvPr id="3" name="Rechteck 4">
            <a:extLst>
              <a:ext uri="{FF2B5EF4-FFF2-40B4-BE49-F238E27FC236}">
                <a16:creationId xmlns:a16="http://schemas.microsoft.com/office/drawing/2014/main" id="{FD69532B-3292-E4A2-F4E6-604E0BA8F3AC}"/>
              </a:ext>
            </a:extLst>
          </p:cNvPr>
          <p:cNvSpPr>
            <a:spLocks/>
          </p:cNvSpPr>
          <p:nvPr/>
        </p:nvSpPr>
        <p:spPr>
          <a:xfrm>
            <a:off x="407988" y="1557338"/>
            <a:ext cx="2588689" cy="4500562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44000" rIns="180000" bIns="144000" rtlCol="0" anchor="t"/>
          <a:lstStyle/>
          <a:p>
            <a:pPr>
              <a:spcAft>
                <a:spcPts val="600"/>
              </a:spcAft>
              <a:buClr>
                <a:srgbClr val="000000"/>
              </a:buClr>
            </a:pPr>
            <a:r>
              <a:rPr lang="en-US" sz="2400">
                <a:solidFill>
                  <a:schemeClr val="tx2"/>
                </a:solidFill>
                <a:sym typeface="Futura"/>
              </a:rPr>
              <a:t>Sample text</a:t>
            </a:r>
          </a:p>
          <a:p>
            <a:pPr>
              <a:spcAft>
                <a:spcPts val="1200"/>
              </a:spcAft>
              <a:buClr>
                <a:srgbClr val="000000"/>
              </a:buClr>
            </a:pPr>
            <a:r>
              <a:rPr lang="en-US" sz="1400" b="1">
                <a:solidFill>
                  <a:schemeClr val="accent1"/>
                </a:solidFill>
                <a:sym typeface="Futura"/>
              </a:rPr>
              <a:t>Insert your desired text</a:t>
            </a: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000000"/>
                </a:solidFill>
                <a:sym typeface="Futura"/>
              </a:rPr>
              <a:t>Lorem ipsum dolor sit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amet</a:t>
            </a:r>
            <a:endParaRPr lang="en-US" sz="1400">
              <a:solidFill>
                <a:srgbClr val="000000"/>
              </a:solidFill>
              <a:sym typeface="Futura"/>
            </a:endParaRP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000000"/>
                </a:solidFill>
                <a:sym typeface="Futura"/>
              </a:rPr>
              <a:t>Ut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enim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ad minim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veniam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</a:t>
            </a: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000000"/>
                </a:solidFill>
                <a:sym typeface="Futura"/>
              </a:rPr>
              <a:t>Quis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nostrud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exercitation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ullamco</a:t>
            </a:r>
            <a:endParaRPr lang="en-US" sz="1400">
              <a:solidFill>
                <a:srgbClr val="000000"/>
              </a:solidFill>
              <a:sym typeface="Futura"/>
            </a:endParaRPr>
          </a:p>
          <a:p>
            <a:pPr>
              <a:buClr>
                <a:srgbClr val="000000"/>
              </a:buClr>
            </a:pPr>
            <a:endParaRPr lang="en-US" sz="1400" b="1">
              <a:solidFill>
                <a:schemeClr val="accent1"/>
              </a:solidFill>
              <a:sym typeface="Futura"/>
            </a:endParaRPr>
          </a:p>
        </p:txBody>
      </p:sp>
      <p:graphicFrame>
        <p:nvGraphicFramePr>
          <p:cNvPr id="6" name="Table 12">
            <a:extLst>
              <a:ext uri="{FF2B5EF4-FFF2-40B4-BE49-F238E27FC236}">
                <a16:creationId xmlns:a16="http://schemas.microsoft.com/office/drawing/2014/main" id="{D1D2FBF7-E45D-B4ED-EC9A-7CDF4FDB932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180728912"/>
              </p:ext>
            </p:extLst>
          </p:nvPr>
        </p:nvGraphicFramePr>
        <p:xfrm>
          <a:off x="3356677" y="2051117"/>
          <a:ext cx="8452736" cy="38485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2012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93261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l" rtl="0">
                        <a:spcBef>
                          <a:spcPts val="1800"/>
                        </a:spcBef>
                        <a:spcAft>
                          <a:spcPts val="1800"/>
                        </a:spcAft>
                      </a:pPr>
                      <a:r>
                        <a:rPr lang="en-US" sz="1400" b="1" kern="120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Time</a:t>
                      </a:r>
                    </a:p>
                  </a:txBody>
                  <a:tcPr marL="0" marR="0" marT="43200" marB="43200"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914400" rtl="0" eaLnBrk="1" latinLnBrk="0" hangingPunct="1">
                        <a:spcBef>
                          <a:spcPts val="1800"/>
                        </a:spcBef>
                        <a:spcAft>
                          <a:spcPts val="1800"/>
                        </a:spcAft>
                        <a:buClr>
                          <a:schemeClr val="accent4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en-US" sz="1400" b="1" kern="120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Topic</a:t>
                      </a:r>
                    </a:p>
                  </a:txBody>
                  <a:tcPr marL="157852" marR="0" marT="43200" marB="43200"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4659788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>
                        <a:spcBef>
                          <a:spcPts val="1800"/>
                        </a:spcBef>
                        <a:spcAft>
                          <a:spcPts val="1800"/>
                        </a:spcAft>
                      </a:pPr>
                      <a:r>
                        <a:rPr lang="en-US" sz="1400" b="1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/>
                          <a:cs typeface="+mn-cs"/>
                        </a:rPr>
                        <a:t>9:45</a:t>
                      </a:r>
                      <a:r>
                        <a:rPr lang="en-US" sz="1400" b="1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/>
                          <a:cs typeface="+mn-cs"/>
                        </a:rPr>
                        <a:t>–10:00</a:t>
                      </a:r>
                      <a:endParaRPr lang="en-US" sz="1400" b="1">
                        <a:solidFill>
                          <a:schemeClr val="tx1"/>
                        </a:solidFill>
                        <a:effectLst/>
                        <a:latin typeface="+mn-lt"/>
                        <a:ea typeface="Times New Roman"/>
                        <a:cs typeface="+mn-cs"/>
                      </a:endParaRPr>
                    </a:p>
                  </a:txBody>
                  <a:tcPr marL="0" marR="0" marT="43200" marB="43200"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228600" lvl="0" indent="-228600" algn="l" defTabSz="914400" rtl="0" eaLnBrk="1" latinLnBrk="0" hangingPunct="1">
                        <a:lnSpc>
                          <a:spcPct val="100000"/>
                        </a:lnSpc>
                        <a:spcBef>
                          <a:spcPts val="1000"/>
                        </a:spcBef>
                        <a:spcAft>
                          <a:spcPts val="1800"/>
                        </a:spcAft>
                        <a:buClr>
                          <a:schemeClr val="tx1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4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Lorem ipsum dolor sit </a:t>
                      </a:r>
                      <a:r>
                        <a:rPr lang="en-US" sz="1400" kern="120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met</a:t>
                      </a:r>
                      <a:endParaRPr lang="en-US" sz="14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57852" marR="0" marT="43200" marB="43200"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>
                        <a:spcBef>
                          <a:spcPts val="1800"/>
                        </a:spcBef>
                        <a:spcAft>
                          <a:spcPts val="1800"/>
                        </a:spcAft>
                      </a:pPr>
                      <a:r>
                        <a:rPr lang="en-US" sz="1400" b="1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/>
                          <a:cs typeface="+mn-cs"/>
                        </a:rPr>
                        <a:t>10:00–10:10</a:t>
                      </a:r>
                    </a:p>
                  </a:txBody>
                  <a:tcPr marL="0" marR="0" marT="43200" marB="43200"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228600" indent="-228600" algn="l" defTabSz="914400" rtl="0" eaLnBrk="1" latinLnBrk="0" hangingPunct="1">
                        <a:lnSpc>
                          <a:spcPct val="100000"/>
                        </a:lnSpc>
                        <a:spcBef>
                          <a:spcPts val="1000"/>
                        </a:spcBef>
                        <a:spcAft>
                          <a:spcPts val="1800"/>
                        </a:spcAft>
                        <a:buClr>
                          <a:schemeClr val="tx1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4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Lorem ipsum dolor sit </a:t>
                      </a:r>
                      <a:r>
                        <a:rPr lang="en-US" sz="1400" kern="120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met</a:t>
                      </a:r>
                      <a:r>
                        <a:rPr lang="en-US" sz="14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, </a:t>
                      </a:r>
                      <a:r>
                        <a:rPr lang="en-US" sz="1400" kern="120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onsectetur</a:t>
                      </a:r>
                      <a:r>
                        <a:rPr lang="en-US" sz="14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400" kern="120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dipiscing</a:t>
                      </a:r>
                      <a:r>
                        <a:rPr lang="en-US" sz="14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400" kern="120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elit</a:t>
                      </a:r>
                      <a:r>
                        <a:rPr lang="en-US" sz="14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, sed do</a:t>
                      </a:r>
                    </a:p>
                  </a:txBody>
                  <a:tcPr marL="157852" marR="0" marT="43200" marB="43200"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>
                        <a:spcBef>
                          <a:spcPts val="1800"/>
                        </a:spcBef>
                        <a:spcAft>
                          <a:spcPts val="1800"/>
                        </a:spcAft>
                      </a:pPr>
                      <a:r>
                        <a:rPr lang="en-US" sz="1400" b="1">
                          <a:solidFill>
                            <a:schemeClr val="tx1"/>
                          </a:solidFill>
                          <a:effectLst/>
                          <a:latin typeface="+mn-lt"/>
                          <a:cs typeface="+mn-cs"/>
                        </a:rPr>
                        <a:t>10:10–11:50</a:t>
                      </a:r>
                      <a:endParaRPr lang="en-US" sz="1400" b="1">
                        <a:solidFill>
                          <a:schemeClr val="tx1"/>
                        </a:solidFill>
                        <a:effectLst/>
                        <a:latin typeface="+mn-lt"/>
                        <a:ea typeface="Times New Roman"/>
                        <a:cs typeface="+mn-cs"/>
                      </a:endParaRPr>
                    </a:p>
                  </a:txBody>
                  <a:tcPr marL="0" marR="0" marT="43200" marB="43200"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228600" marR="0" lvl="0" indent="-2286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4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Lorem ipsum dolor sit </a:t>
                      </a:r>
                      <a:r>
                        <a:rPr lang="en-US" sz="1400" kern="120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met</a:t>
                      </a:r>
                      <a:endParaRPr lang="en-US" sz="14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460375" marR="0" lvl="1" indent="-22987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4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Lorem ipsum dolor sit </a:t>
                      </a:r>
                      <a:r>
                        <a:rPr lang="en-US" sz="1400" kern="120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met</a:t>
                      </a:r>
                      <a:r>
                        <a:rPr lang="en-US" sz="14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, </a:t>
                      </a:r>
                      <a:r>
                        <a:rPr lang="en-US" sz="1400" kern="120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onsectetur</a:t>
                      </a:r>
                      <a:r>
                        <a:rPr lang="en-US" sz="14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400" kern="120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dipiscing</a:t>
                      </a:r>
                      <a:r>
                        <a:rPr lang="en-US" sz="14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400" kern="120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elit</a:t>
                      </a:r>
                      <a:r>
                        <a:rPr lang="en-US" sz="14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, sed</a:t>
                      </a:r>
                    </a:p>
                  </a:txBody>
                  <a:tcPr marL="157852" marR="0" marT="43200" marB="43200"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>
                        <a:spcBef>
                          <a:spcPts val="1800"/>
                        </a:spcBef>
                        <a:spcAft>
                          <a:spcPts val="1800"/>
                        </a:spcAft>
                      </a:pPr>
                      <a:r>
                        <a:rPr lang="en-US" sz="1400" b="1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/>
                          <a:cs typeface="+mn-cs"/>
                        </a:rPr>
                        <a:t>11:50</a:t>
                      </a:r>
                      <a:r>
                        <a:rPr lang="en-US" sz="1400" b="1">
                          <a:solidFill>
                            <a:schemeClr val="tx1"/>
                          </a:solidFill>
                          <a:effectLst/>
                          <a:latin typeface="+mn-lt"/>
                          <a:cs typeface="+mn-cs"/>
                        </a:rPr>
                        <a:t>–12:00</a:t>
                      </a:r>
                      <a:endParaRPr lang="en-US" sz="1400" b="1">
                        <a:solidFill>
                          <a:schemeClr val="tx1"/>
                        </a:solidFill>
                        <a:effectLst/>
                        <a:latin typeface="+mn-lt"/>
                        <a:ea typeface="Times New Roman"/>
                        <a:cs typeface="+mn-cs"/>
                      </a:endParaRPr>
                    </a:p>
                  </a:txBody>
                  <a:tcPr marL="0" marR="0" marT="43200" marB="43200"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228600" indent="-228600" algn="l" defTabSz="914400" rtl="0" eaLnBrk="1" latinLnBrk="0" hangingPunct="1">
                        <a:lnSpc>
                          <a:spcPct val="100000"/>
                        </a:lnSpc>
                        <a:spcBef>
                          <a:spcPts val="1000"/>
                        </a:spcBef>
                        <a:spcAft>
                          <a:spcPts val="1800"/>
                        </a:spcAft>
                        <a:buClr>
                          <a:schemeClr val="tx1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4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Lorem Ipsum</a:t>
                      </a:r>
                    </a:p>
                  </a:txBody>
                  <a:tcPr marL="157852" marR="0" marT="43200" marB="43200"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>
                        <a:spcBef>
                          <a:spcPts val="1800"/>
                        </a:spcBef>
                        <a:spcAft>
                          <a:spcPts val="1800"/>
                        </a:spcAft>
                      </a:pPr>
                      <a:r>
                        <a:rPr lang="en-US" sz="1400" b="1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/>
                          <a:cs typeface="+mn-cs"/>
                        </a:rPr>
                        <a:t>12:00–12:50</a:t>
                      </a:r>
                    </a:p>
                  </a:txBody>
                  <a:tcPr marL="0" marR="0" marT="43200" marB="43200"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228600" marR="0" indent="-2286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1000"/>
                        </a:spcBef>
                        <a:spcAft>
                          <a:spcPts val="180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4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Lorem Ipsum–Lorem Ipsum</a:t>
                      </a:r>
                    </a:p>
                  </a:txBody>
                  <a:tcPr marL="157852" marR="0" marT="43200" marB="43200"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1800"/>
                        </a:spcBef>
                        <a:spcAft>
                          <a:spcPts val="1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/>
                          <a:cs typeface="+mn-cs"/>
                        </a:rPr>
                        <a:t>12:50–13:30</a:t>
                      </a:r>
                    </a:p>
                  </a:txBody>
                  <a:tcPr marL="0" marR="0" marT="43200" marB="43200"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228600" indent="-228600" algn="l" defTabSz="914400" rtl="0" eaLnBrk="1" latinLnBrk="0" hangingPunct="1">
                        <a:lnSpc>
                          <a:spcPct val="100000"/>
                        </a:lnSpc>
                        <a:spcBef>
                          <a:spcPts val="1000"/>
                        </a:spcBef>
                        <a:spcAft>
                          <a:spcPts val="1800"/>
                        </a:spcAft>
                        <a:buClr>
                          <a:schemeClr val="tx1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4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Lorem ipsum dolor sit </a:t>
                      </a:r>
                      <a:r>
                        <a:rPr lang="en-US" sz="1400" kern="120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met</a:t>
                      </a:r>
                      <a:r>
                        <a:rPr lang="en-US" sz="14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, </a:t>
                      </a:r>
                      <a:r>
                        <a:rPr lang="en-US" sz="1400" kern="120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onsectetur</a:t>
                      </a:r>
                      <a:endParaRPr lang="en-US" sz="14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57852" marR="0" marT="43200" marB="43200"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1800"/>
                        </a:spcBef>
                        <a:spcAft>
                          <a:spcPts val="1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/>
                          <a:cs typeface="+mn-cs"/>
                        </a:rPr>
                        <a:t>13:30–14:10</a:t>
                      </a:r>
                    </a:p>
                  </a:txBody>
                  <a:tcPr marL="0" marR="0" marT="43200" marB="43200"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228600" marR="0" indent="-2286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1000"/>
                        </a:spcBef>
                        <a:spcAft>
                          <a:spcPts val="180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4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Lorem</a:t>
                      </a:r>
                    </a:p>
                  </a:txBody>
                  <a:tcPr marL="157852" marR="0" marT="43200" marB="43200"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>
                        <a:spcBef>
                          <a:spcPts val="1800"/>
                        </a:spcBef>
                        <a:spcAft>
                          <a:spcPts val="1800"/>
                        </a:spcAft>
                      </a:pPr>
                      <a:r>
                        <a:rPr lang="en-US" sz="1400" b="1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/>
                          <a:cs typeface="+mn-cs"/>
                        </a:rPr>
                        <a:t>14:10–15:30</a:t>
                      </a:r>
                    </a:p>
                  </a:txBody>
                  <a:tcPr marL="0" marR="0" marT="43200" marB="43200"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228600" indent="-228600" algn="l" defTabSz="914400" rtl="0" eaLnBrk="1" latinLnBrk="0" hangingPunct="1">
                        <a:lnSpc>
                          <a:spcPct val="100000"/>
                        </a:lnSpc>
                        <a:spcBef>
                          <a:spcPts val="1000"/>
                        </a:spcBef>
                        <a:spcAft>
                          <a:spcPts val="1800"/>
                        </a:spcAft>
                        <a:buClr>
                          <a:schemeClr val="tx1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4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Lorem ipsum dolor sit </a:t>
                      </a:r>
                      <a:r>
                        <a:rPr lang="en-US" sz="1400" kern="120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met</a:t>
                      </a:r>
                      <a:r>
                        <a:rPr lang="en-US" sz="14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, </a:t>
                      </a:r>
                      <a:r>
                        <a:rPr lang="en-US" sz="1400" kern="120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onsectetur</a:t>
                      </a:r>
                      <a:r>
                        <a:rPr lang="en-US" sz="14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400" kern="120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dipiscing</a:t>
                      </a:r>
                      <a:r>
                        <a:rPr lang="en-US" sz="14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400" kern="120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elit</a:t>
                      </a:r>
                      <a:r>
                        <a:rPr lang="en-US" sz="14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, sed do</a:t>
                      </a:r>
                    </a:p>
                  </a:txBody>
                  <a:tcPr marL="157852" marR="0" marT="43200" marB="43200"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>
                        <a:spcBef>
                          <a:spcPts val="1800"/>
                        </a:spcBef>
                        <a:spcAft>
                          <a:spcPts val="1800"/>
                        </a:spcAft>
                      </a:pPr>
                      <a:r>
                        <a:rPr lang="en-US" sz="1400" b="1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/>
                          <a:cs typeface="+mn-cs"/>
                        </a:rPr>
                        <a:t>15:00–15:40</a:t>
                      </a:r>
                    </a:p>
                  </a:txBody>
                  <a:tcPr marL="0" marR="0" marT="43200" marB="43200"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228600" indent="-228600" algn="l" defTabSz="914400" rtl="0" eaLnBrk="1" latinLnBrk="0" hangingPunct="1">
                        <a:lnSpc>
                          <a:spcPct val="100000"/>
                        </a:lnSpc>
                        <a:spcBef>
                          <a:spcPts val="1000"/>
                        </a:spcBef>
                        <a:spcAft>
                          <a:spcPts val="1800"/>
                        </a:spcAft>
                        <a:buClr>
                          <a:schemeClr val="tx1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4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Lorem ipsum dolor sit </a:t>
                      </a:r>
                      <a:r>
                        <a:rPr lang="en-US" sz="1400" kern="120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met</a:t>
                      </a:r>
                      <a:r>
                        <a:rPr lang="en-US" sz="14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, </a:t>
                      </a:r>
                      <a:r>
                        <a:rPr lang="en-US" sz="1400" kern="120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onsectetur</a:t>
                      </a:r>
                      <a:r>
                        <a:rPr lang="en-US" sz="14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400" kern="120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dipiscing</a:t>
                      </a:r>
                      <a:r>
                        <a:rPr lang="en-US" sz="14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400" kern="120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elit</a:t>
                      </a:r>
                      <a:r>
                        <a:rPr lang="en-US" sz="14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, sed do</a:t>
                      </a:r>
                    </a:p>
                  </a:txBody>
                  <a:tcPr marL="157852" marR="0" marT="43200" marB="43200"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>
                        <a:spcBef>
                          <a:spcPts val="1800"/>
                        </a:spcBef>
                        <a:spcAft>
                          <a:spcPts val="1800"/>
                        </a:spcAft>
                      </a:pPr>
                      <a:r>
                        <a:rPr lang="en-US" sz="1400" b="1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/>
                          <a:cs typeface="+mn-cs"/>
                        </a:rPr>
                        <a:t>16:10</a:t>
                      </a:r>
                      <a:r>
                        <a:rPr lang="en-US" sz="1400" b="1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/>
                          <a:cs typeface="+mn-cs"/>
                        </a:rPr>
                        <a:t>–17:00</a:t>
                      </a:r>
                      <a:endParaRPr lang="en-US" sz="1400" b="1">
                        <a:solidFill>
                          <a:schemeClr val="tx1"/>
                        </a:solidFill>
                        <a:effectLst/>
                        <a:latin typeface="+mn-lt"/>
                        <a:ea typeface="Times New Roman"/>
                        <a:cs typeface="+mn-cs"/>
                      </a:endParaRPr>
                    </a:p>
                  </a:txBody>
                  <a:tcPr marL="0" marR="0" marT="43200" marB="43200"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228600" indent="-228600" algn="l" defTabSz="914400" rtl="0" eaLnBrk="1" latinLnBrk="0" hangingPunct="1">
                        <a:lnSpc>
                          <a:spcPct val="100000"/>
                        </a:lnSpc>
                        <a:spcBef>
                          <a:spcPts val="1000"/>
                        </a:spcBef>
                        <a:spcAft>
                          <a:spcPts val="1800"/>
                        </a:spcAft>
                        <a:buClr>
                          <a:schemeClr val="tx1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4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Lorem ipsum dolor sit </a:t>
                      </a:r>
                      <a:r>
                        <a:rPr lang="en-US" sz="1400" kern="120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met</a:t>
                      </a:r>
                      <a:r>
                        <a:rPr lang="en-US" sz="14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, </a:t>
                      </a:r>
                      <a:r>
                        <a:rPr lang="en-US" sz="1400" kern="120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onsectetur</a:t>
                      </a:r>
                      <a:r>
                        <a:rPr lang="en-US" sz="14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400" kern="120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dipiscing</a:t>
                      </a:r>
                      <a:r>
                        <a:rPr lang="en-US" sz="14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400" kern="120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elit</a:t>
                      </a:r>
                      <a:r>
                        <a:rPr lang="en-US" sz="14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, sed do</a:t>
                      </a:r>
                    </a:p>
                  </a:txBody>
                  <a:tcPr marL="157852" marR="0" marT="43200" marB="43200"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1800"/>
                        </a:spcBef>
                        <a:spcAft>
                          <a:spcPts val="1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/>
                          <a:cs typeface="+mn-cs"/>
                        </a:rPr>
                        <a:t>17:00–17:30</a:t>
                      </a:r>
                    </a:p>
                  </a:txBody>
                  <a:tcPr marL="0" marR="0" marT="43200" marB="43200"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228600" indent="-228600" algn="l" defTabSz="914400" rtl="0" eaLnBrk="1" latinLnBrk="0" hangingPunct="1">
                        <a:lnSpc>
                          <a:spcPct val="100000"/>
                        </a:lnSpc>
                        <a:spcBef>
                          <a:spcPts val="1000"/>
                        </a:spcBef>
                        <a:spcAft>
                          <a:spcPts val="1800"/>
                        </a:spcAft>
                        <a:buClr>
                          <a:schemeClr val="tx1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4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Lorem ipsum dolor sit </a:t>
                      </a:r>
                      <a:r>
                        <a:rPr lang="en-US" sz="1400" kern="120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met</a:t>
                      </a:r>
                      <a:r>
                        <a:rPr lang="en-US" sz="14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, </a:t>
                      </a:r>
                      <a:r>
                        <a:rPr lang="en-US" sz="1400" kern="120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onsectetur</a:t>
                      </a:r>
                      <a:r>
                        <a:rPr lang="en-US" sz="14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400" kern="120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dipiscing</a:t>
                      </a:r>
                      <a:r>
                        <a:rPr lang="en-US" sz="14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400" kern="120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elit</a:t>
                      </a:r>
                      <a:r>
                        <a:rPr lang="en-US" sz="14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, sed do</a:t>
                      </a:r>
                    </a:p>
                  </a:txBody>
                  <a:tcPr marL="157852" marR="0" marT="43200" marB="43200"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</a:tbl>
          </a:graphicData>
        </a:graphic>
      </p:graphicFrame>
      <p:sp>
        <p:nvSpPr>
          <p:cNvPr id="7" name="Rechteck 43">
            <a:extLst>
              <a:ext uri="{FF2B5EF4-FFF2-40B4-BE49-F238E27FC236}">
                <a16:creationId xmlns:a16="http://schemas.microsoft.com/office/drawing/2014/main" id="{3EB476DF-E72B-3714-A6B3-3DBDAF684797}"/>
              </a:ext>
            </a:extLst>
          </p:cNvPr>
          <p:cNvSpPr>
            <a:spLocks/>
          </p:cNvSpPr>
          <p:nvPr/>
        </p:nvSpPr>
        <p:spPr>
          <a:xfrm>
            <a:off x="3356677" y="1703387"/>
            <a:ext cx="8452736" cy="3693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spAutoFit/>
          </a:bodyPr>
          <a:lstStyle/>
          <a:p>
            <a:pPr>
              <a:buClr>
                <a:srgbClr val="000000"/>
              </a:buClr>
            </a:pPr>
            <a:r>
              <a:rPr lang="en-US" sz="2400">
                <a:solidFill>
                  <a:schemeClr val="tx2"/>
                </a:solidFill>
                <a:sym typeface="Futura"/>
              </a:rPr>
              <a:t>Sample text</a:t>
            </a:r>
            <a:endParaRPr lang="en-US" sz="1400" b="1">
              <a:solidFill>
                <a:schemeClr val="accent1"/>
              </a:solidFill>
              <a:sym typeface="Futura"/>
            </a:endParaRPr>
          </a:p>
        </p:txBody>
      </p:sp>
      <p:sp>
        <p:nvSpPr>
          <p:cNvPr id="2" name="Text Placeholder 15">
            <a:extLst>
              <a:ext uri="{FF2B5EF4-FFF2-40B4-BE49-F238E27FC236}">
                <a16:creationId xmlns:a16="http://schemas.microsoft.com/office/drawing/2014/main" id="{A279F473-4F83-F59B-F58E-7F89D4F7F45E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4299254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time frames, timeframe, timeframes, agenda, agendas, schedules</a:t>
            </a:r>
          </a:p>
        </p:txBody>
      </p:sp>
    </p:spTree>
    <p:extLst>
      <p:ext uri="{BB962C8B-B14F-4D97-AF65-F5344CB8AC3E}">
        <p14:creationId xmlns:p14="http://schemas.microsoft.com/office/powerpoint/2010/main" val="237783370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&#65279;<?xml version="1.0" encoding="utf-8"?><Relationships xmlns="http://schemas.openxmlformats.org/package/2006/relationships"><Relationship Type="http://schemas.openxmlformats.org/officeDocument/2006/relationships/customXmlProps" Target="/customXml/itemProps1.xml" Id="rId1" /></Relationships>
</file>

<file path=customXml/_rels/item2.xml.rels>&#65279;<?xml version="1.0" encoding="utf-8"?><Relationships xmlns="http://schemas.openxmlformats.org/package/2006/relationships"><Relationship Type="http://schemas.openxmlformats.org/officeDocument/2006/relationships/customXmlProps" Target="/customXml/itemProps2.xml" Id="rId1" 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d700bd-da09-4649-9444-0dda6d878ea0">
      <Terms xmlns="http://schemas.microsoft.com/office/infopath/2007/PartnerControls"/>
    </lcf76f155ced4ddcb4097134ff3c332f>
    <TaxCatchAll xmlns="864686ff-c528-4121-8c14-dfe2dfe54fd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BA828D669A945A665683A6A0700C6" ma:contentTypeVersion="16" ma:contentTypeDescription="Create a new document." ma:contentTypeScope="" ma:versionID="3689712686b1536c59bae695a2aec147">
  <xsd:schema xmlns:xsd="http://www.w3.org/2001/XMLSchema" xmlns:xs="http://www.w3.org/2001/XMLSchema" xmlns:p="http://schemas.microsoft.com/office/2006/metadata/properties" xmlns:ns2="6dd700bd-da09-4649-9444-0dda6d878ea0" xmlns:ns3="864686ff-c528-4121-8c14-dfe2dfe54fd3" targetNamespace="http://schemas.microsoft.com/office/2006/metadata/properties" ma:root="true" ma:fieldsID="b09bedee47c1608be4bb72120d99801d" ns2:_="" ns3:_="">
    <xsd:import namespace="6dd700bd-da09-4649-9444-0dda6d878ea0"/>
    <xsd:import namespace="864686ff-c528-4121-8c14-dfe2dfe54f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700bd-da09-4649-9444-0dda6d878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86ff-c528-4121-8c14-dfe2dfe54f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25ba9f0-7af7-415e-a485-bfde88f13ed4}" ma:internalName="TaxCatchAll" ma:showField="CatchAllData" ma:web="864686ff-c528-4121-8c14-dfe2dfe54f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3B317A9-6803-48C9-9473-817C969622FE}">
  <ds:schemaRefs>
    <ds:schemaRef ds:uri="http://schemas.microsoft.com/office/2006/documentManagement/types"/>
    <ds:schemaRef ds:uri="http://purl.org/dc/elements/1.1/"/>
    <ds:schemaRef ds:uri="http://purl.org/dc/dcmitype/"/>
    <ds:schemaRef ds:uri="6dd700bd-da09-4649-9444-0dda6d878ea0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64686ff-c528-4121-8c14-dfe2dfe54fd3"/>
  </ds:schemaRefs>
</ds:datastoreItem>
</file>

<file path=customXml/itemProps2.xml><?xml version="1.0" encoding="utf-8"?>
<ds:datastoreItem xmlns:ds="http://schemas.openxmlformats.org/officeDocument/2006/customXml" ds:itemID="{343A29A7-6CC8-4547-B6F1-D3AFCBF90A13}">
  <ds:schemaRefs>
    <ds:schemaRef ds:uri="6dd700bd-da09-4649-9444-0dda6d878ea0"/>
    <ds:schemaRef ds:uri="864686ff-c528-4121-8c14-dfe2dfe5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183</Words>
  <Application>Microsoft Office PowerPoint</Application>
  <PresentationFormat>宽屏</PresentationFormat>
  <Paragraphs>5454</Paragraphs>
  <Slides>250</Slides>
  <Notes>250</Notes>
  <HiddenSlides>0</HiddenSlides>
  <MMClips>0</MMClips>
  <ScaleCrop>false</ScaleCrop>
  <HeadingPairs>
    <vt:vector size="8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0</vt:i4>
      </vt:variant>
    </vt:vector>
  </HeadingPairs>
  <TitlesOfParts>
    <vt:vector size="268" baseType="lpstr">
      <vt:lpstr>Arial,Sans-Serif</vt:lpstr>
      <vt:lpstr>Avenir Next</vt:lpstr>
      <vt:lpstr>Gill Sans</vt:lpstr>
      <vt:lpstr>Helvetica Neue Light</vt:lpstr>
      <vt:lpstr>理想品牌字体 2022</vt:lpstr>
      <vt:lpstr>Arial</vt:lpstr>
      <vt:lpstr>Calibri</vt:lpstr>
      <vt:lpstr>Lato Light</vt:lpstr>
      <vt:lpstr>Montserrat</vt:lpstr>
      <vt:lpstr>Montserrat ExtraBold</vt:lpstr>
      <vt:lpstr>Segoe UI</vt:lpstr>
      <vt:lpstr>Symbol</vt:lpstr>
      <vt:lpstr>Trebuchet MS</vt:lpstr>
      <vt:lpstr>Verdana</vt:lpstr>
      <vt:lpstr>Wingdings</vt:lpstr>
      <vt:lpstr>Wingdings 2</vt:lpstr>
      <vt:lpstr>BCG Grid 16:9</vt:lpstr>
      <vt:lpstr>think-cell 幻灯片</vt:lpstr>
      <vt:lpstr>Agenda I</vt:lpstr>
      <vt:lpstr>Agenda II</vt:lpstr>
      <vt:lpstr>Agenda III</vt:lpstr>
      <vt:lpstr>Agenda with icons</vt:lpstr>
      <vt:lpstr>Table of contents</vt:lpstr>
      <vt:lpstr>Table of contents, clustered</vt:lpstr>
      <vt:lpstr>Schedule I</vt:lpstr>
      <vt:lpstr>Schedule II</vt:lpstr>
      <vt:lpstr>Schedule III</vt:lpstr>
      <vt:lpstr>Schedule IV</vt:lpstr>
      <vt:lpstr>Dashboard schedule </vt:lpstr>
      <vt:lpstr>Dashboard</vt:lpstr>
      <vt:lpstr>Traffic light dashboard</vt:lpstr>
      <vt:lpstr>Management summary</vt:lpstr>
      <vt:lpstr>Innovative power</vt:lpstr>
      <vt:lpstr>Stats dashboard</vt:lpstr>
      <vt:lpstr>Funnel I</vt:lpstr>
      <vt:lpstr>Funnel II</vt:lpstr>
      <vt:lpstr>Funnel III</vt:lpstr>
      <vt:lpstr>Funnel, horizontal I</vt:lpstr>
      <vt:lpstr>Funnel, horizontal II</vt:lpstr>
      <vt:lpstr>Funnel dashboard</vt:lpstr>
      <vt:lpstr>Simple organigram</vt:lpstr>
      <vt:lpstr>Organigram, clustered I</vt:lpstr>
      <vt:lpstr>Organigram, clustered II</vt:lpstr>
      <vt:lpstr>Organigram, clustered III</vt:lpstr>
      <vt:lpstr>Monopoly-box organigram</vt:lpstr>
      <vt:lpstr>Decision tree</vt:lpstr>
      <vt:lpstr>Hierarchy tree I</vt:lpstr>
      <vt:lpstr>Hierarchy tree II</vt:lpstr>
      <vt:lpstr>Problem tree</vt:lpstr>
      <vt:lpstr>3D pyramid with three layers</vt:lpstr>
      <vt:lpstr>3D pyramid with four layers</vt:lpstr>
      <vt:lpstr>Pyramid with four layers</vt:lpstr>
      <vt:lpstr>Pyramid with six layers</vt:lpstr>
      <vt:lpstr>Pyramid with five layers, cropped</vt:lpstr>
      <vt:lpstr>Ziggurat diagram</vt:lpstr>
      <vt:lpstr>Triangles with text</vt:lpstr>
      <vt:lpstr>Five layers with text I</vt:lpstr>
      <vt:lpstr>Five layers with text II</vt:lpstr>
      <vt:lpstr>Three core elements I</vt:lpstr>
      <vt:lpstr>Three core elements II</vt:lpstr>
      <vt:lpstr>Sunburst diagram, illustrative</vt:lpstr>
      <vt:lpstr>Sunburst diagram, data-driven</vt:lpstr>
      <vt:lpstr>Spiderweb</vt:lpstr>
      <vt:lpstr>Intersection</vt:lpstr>
      <vt:lpstr>Common aspects</vt:lpstr>
      <vt:lpstr>Three important values</vt:lpstr>
      <vt:lpstr>Venn diagram</vt:lpstr>
      <vt:lpstr>Venn diagrams</vt:lpstr>
      <vt:lpstr>Target market</vt:lpstr>
      <vt:lpstr>Supply chain management</vt:lpstr>
      <vt:lpstr>Density</vt:lpstr>
      <vt:lpstr>100 people</vt:lpstr>
      <vt:lpstr>Quantity comparison</vt:lpstr>
      <vt:lpstr>Comparison of percentages</vt:lpstr>
      <vt:lpstr>Comparison of ring diagrams</vt:lpstr>
      <vt:lpstr>Comparison of ring diagrams with results</vt:lpstr>
      <vt:lpstr>Two barometers with text </vt:lpstr>
      <vt:lpstr>Goal</vt:lpstr>
      <vt:lpstr>Iceberg</vt:lpstr>
      <vt:lpstr>World map with text</vt:lpstr>
      <vt:lpstr>World map dashboard</vt:lpstr>
      <vt:lpstr>World map</vt:lpstr>
      <vt:lpstr>World map: North America</vt:lpstr>
      <vt:lpstr>World map: South America</vt:lpstr>
      <vt:lpstr>World map: Europe</vt:lpstr>
      <vt:lpstr>World map: Africa</vt:lpstr>
      <vt:lpstr>World map: Asia</vt:lpstr>
      <vt:lpstr>World map: Oceania</vt:lpstr>
      <vt:lpstr>Map: Australia</vt:lpstr>
      <vt:lpstr>Map: Brazil</vt:lpstr>
      <vt:lpstr>Map: Canada</vt:lpstr>
      <vt:lpstr>Map: China</vt:lpstr>
      <vt:lpstr>Map: France</vt:lpstr>
      <vt:lpstr>Map: Germany</vt:lpstr>
      <vt:lpstr>Map: India</vt:lpstr>
      <vt:lpstr>Map: Italy</vt:lpstr>
      <vt:lpstr>Map: Japan</vt:lpstr>
      <vt:lpstr>Map: Mexico</vt:lpstr>
      <vt:lpstr>Map: Russia</vt:lpstr>
      <vt:lpstr>Map: South Korea</vt:lpstr>
      <vt:lpstr>Map: Spain</vt:lpstr>
      <vt:lpstr>Map: United Kingdom</vt:lpstr>
      <vt:lpstr>Map: United States</vt:lpstr>
      <vt:lpstr>Matrix: Good, neutral, bad</vt:lpstr>
      <vt:lpstr>Matrix: Four blocks I</vt:lpstr>
      <vt:lpstr>Matrix: Four blocks II</vt:lpstr>
      <vt:lpstr>Matrix: Nine blocks</vt:lpstr>
      <vt:lpstr>Aspect matrix</vt:lpstr>
      <vt:lpstr>Icon matrix</vt:lpstr>
      <vt:lpstr>Process matrix</vt:lpstr>
      <vt:lpstr>Matrices with four areas</vt:lpstr>
      <vt:lpstr>SWOT analysis I</vt:lpstr>
      <vt:lpstr>SWOT analysis II</vt:lpstr>
      <vt:lpstr>SWOT analysis III</vt:lpstr>
      <vt:lpstr>SWOT analysis dashboard</vt:lpstr>
      <vt:lpstr>Honeycomb</vt:lpstr>
      <vt:lpstr>Puzzle</vt:lpstr>
      <vt:lpstr>Process puzzle</vt:lpstr>
      <vt:lpstr>Two obstacles</vt:lpstr>
      <vt:lpstr>Pillar text box</vt:lpstr>
      <vt:lpstr>Business model</vt:lpstr>
      <vt:lpstr>Pros and cons I</vt:lpstr>
      <vt:lpstr>Pros and cons II</vt:lpstr>
      <vt:lpstr>Pros and cons III</vt:lpstr>
      <vt:lpstr>Five steps </vt:lpstr>
      <vt:lpstr>Buildup</vt:lpstr>
      <vt:lpstr>Three stairs </vt:lpstr>
      <vt:lpstr>Ladder to goal I</vt:lpstr>
      <vt:lpstr>Ladder to goal II</vt:lpstr>
      <vt:lpstr>Four circular elements</vt:lpstr>
      <vt:lpstr>Radiate </vt:lpstr>
      <vt:lpstr>Mind map</vt:lpstr>
      <vt:lpstr>Circle with numbered text I</vt:lpstr>
      <vt:lpstr>Circle with numbered text II</vt:lpstr>
      <vt:lpstr>Process flow</vt:lpstr>
      <vt:lpstr>Process flow with swim lanes</vt:lpstr>
      <vt:lpstr>Process stages</vt:lpstr>
      <vt:lpstr>Infographic process I</vt:lpstr>
      <vt:lpstr>Infographic process II</vt:lpstr>
      <vt:lpstr>Infographic process III</vt:lpstr>
      <vt:lpstr>Infographic process IV</vt:lpstr>
      <vt:lpstr>Infographic process V</vt:lpstr>
      <vt:lpstr>Infographic process VI</vt:lpstr>
      <vt:lpstr>Infographic process VII</vt:lpstr>
      <vt:lpstr>Infographic process with highlight</vt:lpstr>
      <vt:lpstr>Infographic process with results</vt:lpstr>
      <vt:lpstr>Four steps</vt:lpstr>
      <vt:lpstr>Path</vt:lpstr>
      <vt:lpstr>Numbered process</vt:lpstr>
      <vt:lpstr>Circular ongoing sprint</vt:lpstr>
      <vt:lpstr>Circular sprint</vt:lpstr>
      <vt:lpstr>Circular text</vt:lpstr>
      <vt:lpstr>Circular text flow</vt:lpstr>
      <vt:lpstr>Process circle</vt:lpstr>
      <vt:lpstr>Four circle segments</vt:lpstr>
      <vt:lpstr>Six circle segments</vt:lpstr>
      <vt:lpstr>Value chain I</vt:lpstr>
      <vt:lpstr>Value chain II</vt:lpstr>
      <vt:lpstr>Value chain III</vt:lpstr>
      <vt:lpstr>Overlapping processes</vt:lpstr>
      <vt:lpstr>Customer journey</vt:lpstr>
      <vt:lpstr>Customer journey dashboard</vt:lpstr>
      <vt:lpstr>Plan</vt:lpstr>
      <vt:lpstr>Swim lane</vt:lpstr>
      <vt:lpstr>Swim lane, complex</vt:lpstr>
      <vt:lpstr>Influencing components</vt:lpstr>
      <vt:lpstr>Building blocks</vt:lpstr>
      <vt:lpstr>Cause and effect I</vt:lpstr>
      <vt:lpstr>Cause and effect II</vt:lpstr>
      <vt:lpstr>Cause and effect III</vt:lpstr>
      <vt:lpstr>Cause and effect IV</vt:lpstr>
      <vt:lpstr>Cause and effect V</vt:lpstr>
      <vt:lpstr>Cause and effect VI</vt:lpstr>
      <vt:lpstr>Phases/processes</vt:lpstr>
      <vt:lpstr>Circular arrows, cycles</vt:lpstr>
      <vt:lpstr>Circle segments I</vt:lpstr>
      <vt:lpstr>Circle segments II</vt:lpstr>
      <vt:lpstr>Quote I</vt:lpstr>
      <vt:lpstr>Quote II</vt:lpstr>
      <vt:lpstr>Six key messages and quotes</vt:lpstr>
      <vt:lpstr>Table with illustrated header</vt:lpstr>
      <vt:lpstr>Sectioned summary</vt:lpstr>
      <vt:lpstr>Table with four columns</vt:lpstr>
      <vt:lpstr>Table with five columns</vt:lpstr>
      <vt:lpstr>Table with five columns, no header</vt:lpstr>
      <vt:lpstr>Team slide with four members</vt:lpstr>
      <vt:lpstr>Team slide with four members and social media profiles I</vt:lpstr>
      <vt:lpstr>Team slide with two members and social media profiles II</vt:lpstr>
      <vt:lpstr>Team slide with three members and social media profiles III</vt:lpstr>
      <vt:lpstr>Team slide with four members and social media profiles IV</vt:lpstr>
      <vt:lpstr>Team slide with five members and social media profiles V</vt:lpstr>
      <vt:lpstr>Team slide with three profiles </vt:lpstr>
      <vt:lpstr>Six business cards</vt:lpstr>
      <vt:lpstr>Short personal profile</vt:lpstr>
      <vt:lpstr>Detailed personal profile</vt:lpstr>
      <vt:lpstr>Two text boxes with pictures</vt:lpstr>
      <vt:lpstr>Three text boxes with pictures</vt:lpstr>
      <vt:lpstr>Four text boxes with pictures</vt:lpstr>
      <vt:lpstr>Two text boxes with pictures, vertical</vt:lpstr>
      <vt:lpstr>Assessment</vt:lpstr>
      <vt:lpstr>Six building blocks II</vt:lpstr>
      <vt:lpstr>Six building blocks I</vt:lpstr>
      <vt:lpstr>Goals I</vt:lpstr>
      <vt:lpstr>Goals II</vt:lpstr>
      <vt:lpstr>Six objectives</vt:lpstr>
      <vt:lpstr>Matrix/prioritization: 2×2</vt:lpstr>
      <vt:lpstr>Matrix/prioritization: 2×3</vt:lpstr>
      <vt:lpstr>Three text boxes with enumeration</vt:lpstr>
      <vt:lpstr>Four text boxes with enumeration</vt:lpstr>
      <vt:lpstr>Annotations: CAGR arrow</vt:lpstr>
      <vt:lpstr>Annotations: Multiple CAGR arrows</vt:lpstr>
      <vt:lpstr>Annotations: Total difference arrow</vt:lpstr>
      <vt:lpstr>Annotations: Multiple total difference arrows</vt:lpstr>
      <vt:lpstr>Annotations: Level difference arrow</vt:lpstr>
      <vt:lpstr>Annotations: Baseline break</vt:lpstr>
      <vt:lpstr>Annotations: Value line</vt:lpstr>
      <vt:lpstr>Time series: Stacked column</vt:lpstr>
      <vt:lpstr>Composition: Stacked 100% column</vt:lpstr>
      <vt:lpstr>Item comparison: Clustered column</vt:lpstr>
      <vt:lpstr>Time series: Combination</vt:lpstr>
      <vt:lpstr>Stacked, 100%, clustered column</vt:lpstr>
      <vt:lpstr>Item comparison: Bar I</vt:lpstr>
      <vt:lpstr>Item comparison: Bar II</vt:lpstr>
      <vt:lpstr>Structure, composition: Stacked 100% bar</vt:lpstr>
      <vt:lpstr>Item comparison: Butterfly, tornado</vt:lpstr>
      <vt:lpstr>Time series: Line</vt:lpstr>
      <vt:lpstr>Time series: Combination</vt:lpstr>
      <vt:lpstr>Time series: Area</vt:lpstr>
      <vt:lpstr>Structure, composition: Area 100%</vt:lpstr>
      <vt:lpstr>Line, area, area 100%</vt:lpstr>
      <vt:lpstr>Item comparison: Football field</vt:lpstr>
      <vt:lpstr>Time series: Box and whisker, box plot</vt:lpstr>
      <vt:lpstr>Time series: Candlestick, stock price</vt:lpstr>
      <vt:lpstr>Structure, composition: Mekko (% axis)</vt:lpstr>
      <vt:lpstr>Item comparison: Mekko (unit axis)</vt:lpstr>
      <vt:lpstr>Structure, composition: Pie</vt:lpstr>
      <vt:lpstr>Structure, composition: Doughnut</vt:lpstr>
      <vt:lpstr>Structure, composition: Bar of pie</vt:lpstr>
      <vt:lpstr>Correlation: Scatter</vt:lpstr>
      <vt:lpstr>Item comparison: Bubble</vt:lpstr>
      <vt:lpstr>Timeline: Gantt I</vt:lpstr>
      <vt:lpstr>Timeline: Gantt II</vt:lpstr>
      <vt:lpstr>Timeline: Gantt III</vt:lpstr>
      <vt:lpstr>Contribution to change: Build-down waterfall</vt:lpstr>
      <vt:lpstr>Contribution to change: Build-up waterfall</vt:lpstr>
      <vt:lpstr>Comparison: Funnel, pipeline</vt:lpstr>
      <vt:lpstr>Timeline</vt:lpstr>
      <vt:lpstr>Historical timeline</vt:lpstr>
      <vt:lpstr>Timeline with slide transitions I</vt:lpstr>
      <vt:lpstr>Timeline with slide transitions II</vt:lpstr>
      <vt:lpstr>Timeline with slide transitions III</vt:lpstr>
      <vt:lpstr>Timeline with slide transitions, horizontal I</vt:lpstr>
      <vt:lpstr>Timeline with slide transitions, horizontal II</vt:lpstr>
      <vt:lpstr>Timeline with slide transitions, horizontal III</vt:lpstr>
      <vt:lpstr>Status timeline</vt:lpstr>
      <vt:lpstr>Arched timeline</vt:lpstr>
      <vt:lpstr>Milestones I</vt:lpstr>
      <vt:lpstr>Milestones II</vt:lpstr>
      <vt:lpstr>Road map</vt:lpstr>
      <vt:lpstr>Sprint planning</vt:lpstr>
      <vt:lpstr>Monthly dashboard calendar</vt:lpstr>
      <vt:lpstr>Weekly dashboard calendar</vt:lpstr>
      <vt:lpstr>Symbols</vt:lpstr>
      <vt:lpstr>Icons</vt:lpstr>
      <vt:lpstr>Puzzle pieces</vt:lpstr>
      <vt:lpstr>Gears</vt:lpstr>
      <vt:lpstr>Newsflash</vt:lpstr>
      <vt:lpstr>Newspap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6:08:17Z</dcterms:created>
  <dcterms:modified xsi:type="dcterms:W3CDTF">2025-08-06T09:30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